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5777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939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cm.co.uk/planner" TargetMode="Externa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155D4F82-E64C-4C4F-9685-016D064DF870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67" t="7246" r="21067" b="7246"/>
          <a:stretch/>
        </p:blipFill>
        <p:spPr>
          <a:xfrm>
            <a:off x="6934200" y="1371600"/>
            <a:ext cx="6121400" cy="5092700"/>
          </a:xfrm>
        </p:spPr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5 April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nya Taylor-Joy, Alexander </a:t>
            </a:r>
            <a:r>
              <a:rPr lang="en-US" dirty="0" err="1">
                <a:solidFill>
                  <a:schemeClr val="accent6"/>
                </a:solidFill>
              </a:rPr>
              <a:t>Skarsgard</a:t>
            </a:r>
            <a:r>
              <a:rPr lang="en-US" dirty="0">
                <a:solidFill>
                  <a:schemeClr val="accent6"/>
                </a:solidFill>
              </a:rPr>
              <a:t>, Nicole Kidman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Robert Eggers (</a:t>
            </a:r>
            <a:r>
              <a:rPr lang="en-US" i="1" dirty="0">
                <a:solidFill>
                  <a:schemeClr val="accent6"/>
                </a:solidFill>
              </a:rPr>
              <a:t>The Witch, The Lighthouse, The Northman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The Lighthouse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Robert Egger’s previous films have received huge critical and audience acclaim, with both </a:t>
            </a:r>
            <a:r>
              <a:rPr lang="en-US" i="1" dirty="0">
                <a:solidFill>
                  <a:schemeClr val="accent6"/>
                </a:solidFill>
              </a:rPr>
              <a:t>The Witch </a:t>
            </a:r>
            <a:r>
              <a:rPr lang="en-US" dirty="0">
                <a:solidFill>
                  <a:schemeClr val="accent6"/>
                </a:solidFill>
              </a:rPr>
              <a:t>and </a:t>
            </a:r>
            <a:r>
              <a:rPr lang="en-US" i="1" dirty="0">
                <a:solidFill>
                  <a:schemeClr val="accent6"/>
                </a:solidFill>
              </a:rPr>
              <a:t>The Lighthouse </a:t>
            </a:r>
            <a:r>
              <a:rPr lang="en-US" dirty="0">
                <a:solidFill>
                  <a:schemeClr val="accent6"/>
                </a:solidFill>
              </a:rPr>
              <a:t>becoming cult classics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Men Index: 19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75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b="0" dirty="0"/>
              <a:t>An epic revenge thriller, exploring how far a Viking prince will go to seek justice for his murdered father.</a:t>
            </a:r>
            <a:endParaRPr lang="en-US" dirty="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The Northman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 stark new tale of revenge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9502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4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The Northma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2 2022</dc:title>
  <dc:creator/>
  <dc:description>The Northman</dc:description>
  <cp:lastModifiedBy/>
  <cp:revision>1</cp:revision>
  <dcterms:created xsi:type="dcterms:W3CDTF">2019-03-25T11:13:20Z</dcterms:created>
  <dcterms:modified xsi:type="dcterms:W3CDTF">2022-01-19T16:57:24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2 2022</vt:lpwstr>
  </property>
  <property fmtid="{D5CDD505-2E9C-101B-9397-08002B2CF9AE}" pid="4" name="SlideDescription">
    <vt:lpwstr>The Northman</vt:lpwstr>
  </property>
</Properties>
</file>